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9"/>
    <p:restoredTop sz="95788"/>
  </p:normalViewPr>
  <p:slideViewPr>
    <p:cSldViewPr snapToGrid="0">
      <p:cViewPr varScale="1">
        <p:scale>
          <a:sx n="98" d="100"/>
          <a:sy n="98" d="100"/>
        </p:scale>
        <p:origin x="200" y="1240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089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30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15882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Franziska Neumaier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Leitung OST Gastronomie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3082709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Gesprächspartner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OST: 3 Jahre, Migros: 6 Jahre Gemeinschaftsgastronomie, vorher Säntispark, immer Systemgastronomi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m Anfang Küchenchefin, jetzt stellv. Betriebsleiterin,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orher als Küchenchef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4 Menüs im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Menucounter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Wochenplan erstellt, was gibt es wan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it Erfahrung  Bedarf plan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Abgleich mit Studentenlisten und Kassensystem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ehr Wetterabhängi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ochentagabhängi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Anzahl Studenten aus historischen Daten, dann herunterbrechen auf die 4 Menüs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er Prozess der Bedarfsplanung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formationen müssen von überall zusammengesucht werden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nter: Studenten essen eher in der Mensa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ommer: Eher eigenes Essen mitbringen und auswärts essen.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zahl Personen die kommen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isualisierung eine Dimension: Bedarfsvorhersage einzelner Gerichte / Produkte / Lebensmittel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ehr wichtig, sonst ist es nicht in der täglichen Arbeit anwendbar, sonst kein Vertrauen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as muss alles gegeben sein damit sie einer Voraussage eines Algorithmus vertrau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„Realistische“ Zahlen vergleichbar mit dem letzten Jah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ergleich totale Essen letztes Jah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nteraktivität: Totale Anzahl Menüs anpassbar, Menüs anpassba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Text: Weniger ausführlich, Icon basiert, übersichtlich dargestellt und einfach erklärt -&gt; so dass es jeder bedienen kan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wichtiger, eine Erklärung über die Funktionsweise des Algorithmus zu erhalten, oder eine die die aktuell ausgesprochene Empfehlung erklärt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Das Ergebnis muss erklärbar sein, weniger die Funktionsweise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en in der Erklärung vorhanden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orschau sehen: 2-3 Tage 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Bestellrythmus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zwei Wochen im Voraus, wählbar mit Pfeiltasten zum nächsten Ta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Auswertung: Input vom User wieviel Essen verkauft wurde, um zu sehen wie genau der Algorithmus ist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ibt es weitere  Elemente die ein solches Tool aufweisen muss, damit Sie den Empfehlung dessen vertrauen könn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teraktive Menüplanung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Calibri"/>
              </a:rPr>
              <a:t>Produktstag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+ 2, müsste eher nicht integriert werden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Lieferrythmus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muss eingehalten werden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Eher nicht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Too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good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to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go</a:t>
            </a: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Excellist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über die letzten 8 Jahre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I Retail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756</Words>
  <Application>Microsoft Macintosh PowerPoint</Application>
  <PresentationFormat>Bildschirmpräsentation (16:9)</PresentationFormat>
  <Paragraphs>123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8</cp:revision>
  <cp:lastPrinted>2020-03-29T12:41:23Z</cp:lastPrinted>
  <dcterms:created xsi:type="dcterms:W3CDTF">2019-10-08T08:06:46Z</dcterms:created>
  <dcterms:modified xsi:type="dcterms:W3CDTF">2021-01-12T10:0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